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10"/>
  </p:notesMasterIdLst>
  <p:sldIdLst>
    <p:sldId id="268" r:id="rId2"/>
    <p:sldId id="274" r:id="rId3"/>
    <p:sldId id="279" r:id="rId4"/>
    <p:sldId id="276" r:id="rId5"/>
    <p:sldId id="273" r:id="rId6"/>
    <p:sldId id="278" r:id="rId7"/>
    <p:sldId id="280" r:id="rId8"/>
    <p:sldId id="260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BBF2"/>
    <a:srgbClr val="0096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272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6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939294-B483-4A0B-A469-7D0FDDC69345}" type="datetimeFigureOut">
              <a:rPr lang="en-US" smtClean="0"/>
              <a:t>9/3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317328-9EBA-4B35-AF2C-D62995C59E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906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Usar</a:t>
            </a:r>
            <a:r>
              <a:rPr lang="en-US" dirty="0"/>
              <a:t> </a:t>
            </a:r>
            <a:r>
              <a:rPr lang="en-US" dirty="0" err="1"/>
              <a:t>para</a:t>
            </a:r>
            <a:r>
              <a:rPr lang="en-US" dirty="0"/>
              <a:t> </a:t>
            </a:r>
            <a:r>
              <a:rPr lang="en-US" dirty="0" err="1"/>
              <a:t>separador</a:t>
            </a:r>
            <a:r>
              <a:rPr lang="en-US" dirty="0"/>
              <a:t> de </a:t>
            </a:r>
            <a:r>
              <a:rPr lang="en-US" dirty="0" err="1"/>
              <a:t>capitulos</a:t>
            </a:r>
            <a:r>
              <a:rPr lang="en-US" dirty="0"/>
              <a:t> . </a:t>
            </a:r>
            <a:r>
              <a:rPr lang="en-US" dirty="0" err="1"/>
              <a:t>Seria</a:t>
            </a:r>
            <a:r>
              <a:rPr lang="en-US" dirty="0"/>
              <a:t> </a:t>
            </a:r>
            <a:r>
              <a:rPr lang="en-US" dirty="0" err="1"/>
              <a:t>bom</a:t>
            </a:r>
            <a:r>
              <a:rPr lang="en-US" dirty="0"/>
              <a:t> </a:t>
            </a:r>
            <a:r>
              <a:rPr lang="en-US" dirty="0" err="1"/>
              <a:t>ter</a:t>
            </a:r>
            <a:r>
              <a:rPr lang="en-US" dirty="0"/>
              <a:t> </a:t>
            </a:r>
            <a:r>
              <a:rPr lang="en-US" dirty="0" err="1"/>
              <a:t>esta</a:t>
            </a:r>
            <a:r>
              <a:rPr lang="en-US" dirty="0"/>
              <a:t> </a:t>
            </a:r>
            <a:r>
              <a:rPr lang="en-US" dirty="0" err="1"/>
              <a:t>versa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vermelho</a:t>
            </a:r>
            <a:r>
              <a:rPr lang="en-US" dirty="0"/>
              <a:t> e </a:t>
            </a:r>
            <a:r>
              <a:rPr lang="en-US" dirty="0" err="1"/>
              <a:t>verde</a:t>
            </a:r>
            <a:r>
              <a:rPr lang="en-US" dirty="0"/>
              <a:t> </a:t>
            </a:r>
            <a:r>
              <a:rPr lang="en-US" dirty="0" err="1"/>
              <a:t>tb</a:t>
            </a:r>
            <a:r>
              <a:rPr lang="en-US" dirty="0"/>
              <a:t>.</a:t>
            </a:r>
            <a:r>
              <a:rPr lang="en-US" baseline="0" dirty="0"/>
              <a:t>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290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4415" y="6092981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9749208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07988" y="2276872"/>
            <a:ext cx="5399980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988" y="3261834"/>
            <a:ext cx="5399980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4" name="Freeform 11"/>
          <p:cNvSpPr>
            <a:spLocks/>
          </p:cNvSpPr>
          <p:nvPr userDrawn="1"/>
        </p:nvSpPr>
        <p:spPr bwMode="auto">
          <a:xfrm rot="16200000" flipH="1">
            <a:off x="6370124" y="13910"/>
            <a:ext cx="6353908" cy="6326091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977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7B390E6-46A0-4BED-B3E2-3051836E07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07267" y="2606029"/>
            <a:ext cx="7377467" cy="1645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36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 (Image placehold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D6B527-14EF-4F30-9C9C-691EC4327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98310" y="-1588"/>
            <a:ext cx="7893690" cy="68595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83CBA49-BBF9-4CF0-9E0B-FF67BA1496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3068960"/>
            <a:ext cx="4103688" cy="86360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rgbClr val="0070AD"/>
                </a:solidFill>
              </a:defRPr>
            </a:lvl1pPr>
            <a:lvl2pPr>
              <a:defRPr sz="24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F4C94DDB-5E07-4F17-ABAA-3E9C5E868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4040163"/>
            <a:ext cx="4103688" cy="1189037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0070AD"/>
                </a:solidFill>
              </a:defRPr>
            </a:lvl1pPr>
            <a:lvl2pPr>
              <a:defRPr sz="16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1353" y="6146782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2873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634">
          <p15:clr>
            <a:srgbClr val="FBAE40"/>
          </p15:clr>
        </p15:guide>
        <p15:guide id="3" pos="7219">
          <p15:clr>
            <a:srgbClr val="FBAE40"/>
          </p15:clr>
        </p15:guide>
        <p15:guide id="4" orient="horz" pos="2614">
          <p15:clr>
            <a:srgbClr val="FBAE40"/>
          </p15:clr>
        </p15:guide>
        <p15:guide id="5" orient="horz" pos="3203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420078" y="1495426"/>
            <a:ext cx="11351846" cy="4772025"/>
          </a:xfrm>
        </p:spPr>
        <p:txBody>
          <a:bodyPr/>
          <a:lstStyle>
            <a:lvl1pPr>
              <a:buClr>
                <a:schemeClr val="accent5"/>
              </a:buClr>
              <a:defRPr b="0"/>
            </a:lvl1pPr>
            <a:lvl2pPr marL="457200" indent="-228600">
              <a:buClr>
                <a:schemeClr val="accent5"/>
              </a:buClr>
              <a:defRPr/>
            </a:lvl2pPr>
            <a:lvl3pPr marL="685800" indent="-228600"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28693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13387"/>
            <a:ext cx="11376025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412875"/>
            <a:ext cx="11376024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51278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81" r:id="rId5"/>
  </p:sldLayoutIdLst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s3.amazonaws.com/sagemaker-hremployeeattrition-0001/website/pages/EmployeeDatabase.html" TargetMode="Externa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604DBA-7087-445E-A54A-70ABE675B2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GT" dirty="0"/>
              <a:t>TESLAS HR Attrition Analytics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06E379-8E6B-4D65-A73F-3A5400A338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054" y="5381481"/>
            <a:ext cx="2666667" cy="9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8735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2B65FE-82A0-4CCA-A265-528249B2A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GT" dirty="0"/>
              <a:t>TEAM INFO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2A1BDD-A4FF-49CE-AB71-77C37F62A1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am from Guatemala</a:t>
            </a:r>
          </a:p>
          <a:p>
            <a:r>
              <a:rPr lang="en-US" dirty="0"/>
              <a:t>DEX TEAM (5 MEMBERS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uel De Paz – DEX Team L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esar Herrera – RPA Develop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rlos Del Valle – Command Cent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ictor Gonzalez – RPA Develop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rlos Vicente – RPA Develop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RPA TEAM (1 MEMB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rco </a:t>
            </a:r>
            <a:r>
              <a:rPr lang="en-US" dirty="0" err="1"/>
              <a:t>Petz</a:t>
            </a:r>
            <a:r>
              <a:rPr lang="en-US" dirty="0"/>
              <a:t> – RPA Team Lead</a:t>
            </a:r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2325471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4C949-5A0D-42F9-BC5E-57E89B80F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</a:t>
            </a:r>
            <a:endParaRPr lang="es-G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D29718-32FC-4E01-B4C1-4DFAF38D41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mployee attrition is major problem for any business. Identifying employee with a higher risk of attrition early on gives us a chance to identify the reasons of leaving and offer them incentives to stay.</a:t>
            </a:r>
          </a:p>
          <a:p>
            <a:r>
              <a:rPr lang="en-US" dirty="0"/>
              <a:t>This project describes using machine learning (ML) for the automated identification of employees with a higher risk of attrition. Also about how to incorporate the relative costs of prediction mistakes when determining the financial outcome of using ML. Cos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ob po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ring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aper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rainning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dden Costs-</a:t>
            </a:r>
            <a:r>
              <a:rPr lang="en-US" dirty="0">
                <a:sym typeface="Wingdings" panose="05000000000000000000" pitchFamily="2" charset="2"/>
              </a:rPr>
              <a:t> Decreasing collective knowledge base and experience. Error and issues are more likely  with new work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3223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6E18C-2371-4955-9F30-E848CA5CB8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GT" dirty="0"/>
              <a:t>SOLUTION &amp; TECHNOLOG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ED611CB-A624-48A0-B5FE-86448154EB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452" y="1487231"/>
            <a:ext cx="6420092" cy="4379341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33C4D3C-4796-4BB5-A6A3-F4C4A1D10CF7}"/>
              </a:ext>
            </a:extLst>
          </p:cNvPr>
          <p:cNvSpPr txBox="1"/>
          <p:nvPr/>
        </p:nvSpPr>
        <p:spPr>
          <a:xfrm>
            <a:off x="4764947" y="840900"/>
            <a:ext cx="2449585" cy="646331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IBM Sample Data – HR Attrition</a:t>
            </a:r>
            <a:endParaRPr lang="es-GT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82125D-02FD-4FA1-956A-1DF729E86B96}"/>
              </a:ext>
            </a:extLst>
          </p:cNvPr>
          <p:cNvSpPr txBox="1"/>
          <p:nvPr/>
        </p:nvSpPr>
        <p:spPr>
          <a:xfrm>
            <a:off x="8507889" y="689403"/>
            <a:ext cx="3145872" cy="286232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Define Dependent Variabl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Data Explor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Choose the best features to train the mod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Analyze correlation between variab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Data Preprocess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Remove unnecessary colum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Convert categorical variables into dummy variab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Split data into train and test set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6BA73D-A392-4704-B060-63A8F1EE898D}"/>
              </a:ext>
            </a:extLst>
          </p:cNvPr>
          <p:cNvSpPr txBox="1"/>
          <p:nvPr/>
        </p:nvSpPr>
        <p:spPr>
          <a:xfrm>
            <a:off x="407987" y="4826676"/>
            <a:ext cx="3585173" cy="1815882"/>
          </a:xfrm>
          <a:prstGeom prst="rect">
            <a:avLst/>
          </a:prstGeom>
          <a:solidFill>
            <a:srgbClr val="A0BBF2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reate Endpoint in AWS Services to deploy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valuate model using Confusion Matri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fine optimum cutoff based cost of turnover. </a:t>
            </a:r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39E0C7-D946-4D13-8543-20AF3DCC34BF}"/>
              </a:ext>
            </a:extLst>
          </p:cNvPr>
          <p:cNvSpPr txBox="1"/>
          <p:nvPr/>
        </p:nvSpPr>
        <p:spPr>
          <a:xfrm>
            <a:off x="7290584" y="4484367"/>
            <a:ext cx="4059721" cy="1600438"/>
          </a:xfrm>
          <a:prstGeom prst="rect">
            <a:avLst/>
          </a:prstGeom>
          <a:solidFill>
            <a:srgbClr val="A0BBF2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hoose the best binary classification model based on accurac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XGBoost</a:t>
            </a:r>
            <a:r>
              <a:rPr lang="en-US" sz="1400" dirty="0"/>
              <a:t> (S</a:t>
            </a:r>
            <a:r>
              <a:rPr lang="es-GT" sz="1400" dirty="0" err="1"/>
              <a:t>upervised</a:t>
            </a:r>
            <a:r>
              <a:rPr lang="es-GT" sz="1400" dirty="0"/>
              <a:t> </a:t>
            </a:r>
            <a:r>
              <a:rPr lang="es-GT" sz="1400" dirty="0" err="1"/>
              <a:t>learnin</a:t>
            </a:r>
            <a:r>
              <a:rPr lang="es-GT" sz="1400" dirty="0"/>
              <a:t> </a:t>
            </a:r>
            <a:r>
              <a:rPr lang="es-GT" sz="1400" dirty="0" err="1"/>
              <a:t>algorithm</a:t>
            </a:r>
            <a:r>
              <a:rPr lang="es-GT" sz="14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rain Model using AWS </a:t>
            </a:r>
            <a:r>
              <a:rPr lang="en-US" sz="1400" dirty="0" err="1"/>
              <a:t>Sagemaker</a:t>
            </a:r>
            <a:r>
              <a:rPr lang="en-US" sz="1400" dirty="0"/>
              <a:t>  (</a:t>
            </a:r>
            <a:r>
              <a:rPr lang="en-US" sz="1400" dirty="0" err="1"/>
              <a:t>Jupyter</a:t>
            </a:r>
            <a:r>
              <a:rPr lang="en-US" sz="1400" dirty="0"/>
              <a:t>)</a:t>
            </a:r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D4B623-149E-4BEC-9B5D-9B36CADE38FC}"/>
              </a:ext>
            </a:extLst>
          </p:cNvPr>
          <p:cNvSpPr txBox="1"/>
          <p:nvPr/>
        </p:nvSpPr>
        <p:spPr>
          <a:xfrm>
            <a:off x="407987" y="1027030"/>
            <a:ext cx="2091932" cy="323165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Deploy model using AWS Chalice (Microframewor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erverless application that uses AWS S3 as repository and connects to other AWS servi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reate a lambda function to deploy model using the sage maker endpoi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isualize results using datables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946306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B05DD9F-E154-47D0-B5D7-1025C4597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GT" dirty="0"/>
              <a:t>ROBUSTNES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566A4E3-6741-4B23-8689-38081C5124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RAIN – 80%</a:t>
            </a:r>
          </a:p>
          <a:p>
            <a:r>
              <a:rPr lang="en-US" dirty="0"/>
              <a:t>TEST – 20%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s-GT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9ABEED2-C2FC-48E7-B285-0F0DB7FABD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5929445"/>
              </p:ext>
            </p:extLst>
          </p:nvPr>
        </p:nvGraphicFramePr>
        <p:xfrm>
          <a:off x="2694730" y="1939551"/>
          <a:ext cx="8127999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60555314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408298856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9382500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G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GT" dirty="0"/>
                        <a:t>No Attr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GT" dirty="0"/>
                        <a:t>Attr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54996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GT" dirty="0"/>
                        <a:t>No Attr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GT" dirty="0"/>
                        <a:t>89% (366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GT" dirty="0"/>
                        <a:t>30% (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5586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GT" dirty="0"/>
                        <a:t>Attr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GT" dirty="0"/>
                        <a:t>11% (4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GT" dirty="0"/>
                        <a:t>70% (2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07455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4E61AE0-4077-4DDA-A248-644538476900}"/>
              </a:ext>
            </a:extLst>
          </p:cNvPr>
          <p:cNvSpPr txBox="1"/>
          <p:nvPr/>
        </p:nvSpPr>
        <p:spPr>
          <a:xfrm>
            <a:off x="3783435" y="2038525"/>
            <a:ext cx="3967993" cy="503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GT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BCB78A9-A6B6-4D24-9C3E-0D9A3C13FE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0216145"/>
              </p:ext>
            </p:extLst>
          </p:nvPr>
        </p:nvGraphicFramePr>
        <p:xfrm>
          <a:off x="2694729" y="1119516"/>
          <a:ext cx="8128000" cy="64008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32533506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701697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s-GT" dirty="0" err="1"/>
                        <a:t>Overall</a:t>
                      </a:r>
                      <a:r>
                        <a:rPr lang="es-GT" dirty="0"/>
                        <a:t> </a:t>
                      </a:r>
                      <a:r>
                        <a:rPr lang="es-GT" dirty="0" err="1"/>
                        <a:t>Classification</a:t>
                      </a:r>
                      <a:r>
                        <a:rPr lang="es-GT" dirty="0"/>
                        <a:t> </a:t>
                      </a:r>
                      <a:r>
                        <a:rPr lang="es-GT" dirty="0" err="1"/>
                        <a:t>Rate</a:t>
                      </a:r>
                      <a:r>
                        <a:rPr lang="es-GT" dirty="0"/>
                        <a:t>:</a:t>
                      </a:r>
                    </a:p>
                    <a:p>
                      <a:r>
                        <a:rPr lang="en-US" dirty="0"/>
                        <a:t>(default </a:t>
                      </a:r>
                      <a:r>
                        <a:rPr lang="es-GT" dirty="0" err="1"/>
                        <a:t>Cut</a:t>
                      </a:r>
                      <a:r>
                        <a:rPr lang="es-GT" dirty="0"/>
                        <a:t>-off 0.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GT" dirty="0"/>
                        <a:t>87.8% </a:t>
                      </a:r>
                      <a:br>
                        <a:rPr lang="es-GT" dirty="0"/>
                      </a:br>
                      <a:endParaRPr lang="es-G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6982314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2917E42-964A-4951-8AB6-70266EC26C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8880" b="12743"/>
          <a:stretch/>
        </p:blipFill>
        <p:spPr>
          <a:xfrm>
            <a:off x="5874873" y="3518988"/>
            <a:ext cx="4493920" cy="2678573"/>
          </a:xfrm>
          <a:prstGeom prst="rect">
            <a:avLst/>
          </a:prstGeom>
          <a:ln w="38100" cap="sq">
            <a:solidFill>
              <a:schemeClr val="accent4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44671E8-E834-431C-A77A-91B22F7ACD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124538"/>
              </p:ext>
            </p:extLst>
          </p:nvPr>
        </p:nvGraphicFramePr>
        <p:xfrm>
          <a:off x="636604" y="5587749"/>
          <a:ext cx="4552853" cy="9340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2853">
                  <a:extLst>
                    <a:ext uri="{9D8B030D-6E8A-4147-A177-3AD203B41FA5}">
                      <a16:colId xmlns:a16="http://schemas.microsoft.com/office/drawing/2014/main" val="2367355608"/>
                    </a:ext>
                  </a:extLst>
                </a:gridCol>
              </a:tblGrid>
              <a:tr h="227575">
                <a:tc>
                  <a:txBody>
                    <a:bodyPr/>
                    <a:lstStyle/>
                    <a:p>
                      <a:r>
                        <a:rPr lang="en-US" sz="1400" dirty="0"/>
                        <a:t>Optimal Cut-Off</a:t>
                      </a:r>
                      <a:endParaRPr lang="es-GT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574663"/>
                  </a:ext>
                </a:extLst>
              </a:tr>
              <a:tr h="629289">
                <a:tc>
                  <a:txBody>
                    <a:bodyPr/>
                    <a:lstStyle/>
                    <a:p>
                      <a:r>
                        <a:rPr lang="en-US" sz="1400" dirty="0"/>
                        <a:t>Cost is minimized near a cut-off of 0.21 for a cost of $270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761639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5585F05-526A-46E2-961F-F9CACD19AA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538571"/>
              </p:ext>
            </p:extLst>
          </p:nvPr>
        </p:nvGraphicFramePr>
        <p:xfrm>
          <a:off x="636603" y="3085899"/>
          <a:ext cx="4552853" cy="23883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691">
                  <a:extLst>
                    <a:ext uri="{9D8B030D-6E8A-4147-A177-3AD203B41FA5}">
                      <a16:colId xmlns:a16="http://schemas.microsoft.com/office/drawing/2014/main" val="189723394"/>
                    </a:ext>
                  </a:extLst>
                </a:gridCol>
                <a:gridCol w="1549476">
                  <a:extLst>
                    <a:ext uri="{9D8B030D-6E8A-4147-A177-3AD203B41FA5}">
                      <a16:colId xmlns:a16="http://schemas.microsoft.com/office/drawing/2014/main" val="324646838"/>
                    </a:ext>
                  </a:extLst>
                </a:gridCol>
                <a:gridCol w="1053686">
                  <a:extLst>
                    <a:ext uri="{9D8B030D-6E8A-4147-A177-3AD203B41FA5}">
                      <a16:colId xmlns:a16="http://schemas.microsoft.com/office/drawing/2014/main" val="623968167"/>
                    </a:ext>
                  </a:extLst>
                </a:gridCol>
              </a:tblGrid>
              <a:tr h="467546">
                <a:tc>
                  <a:txBody>
                    <a:bodyPr/>
                    <a:lstStyle/>
                    <a:p>
                      <a:endParaRPr lang="es-G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edicted – True Value</a:t>
                      </a:r>
                      <a:endParaRPr lang="es-G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st </a:t>
                      </a:r>
                      <a:endParaRPr lang="es-GT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9689494"/>
                  </a:ext>
                </a:extLst>
              </a:tr>
              <a:tr h="467546">
                <a:tc>
                  <a:txBody>
                    <a:bodyPr/>
                    <a:lstStyle/>
                    <a:p>
                      <a:r>
                        <a:rPr lang="es-GT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ue positive (TP)</a:t>
                      </a:r>
                      <a:endParaRPr lang="es-G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 - 1</a:t>
                      </a:r>
                      <a:endParaRPr lang="es-G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$6,000</a:t>
                      </a:r>
                      <a:endParaRPr lang="es-GT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801357"/>
                  </a:ext>
                </a:extLst>
              </a:tr>
              <a:tr h="467546">
                <a:tc>
                  <a:txBody>
                    <a:bodyPr/>
                    <a:lstStyle/>
                    <a:p>
                      <a:r>
                        <a:rPr lang="es-GT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ue </a:t>
                      </a:r>
                      <a:r>
                        <a:rPr lang="es-GT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gative</a:t>
                      </a:r>
                      <a:r>
                        <a:rPr lang="es-GT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TN)</a:t>
                      </a:r>
                      <a:endParaRPr lang="es-G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 - 0</a:t>
                      </a:r>
                      <a:endParaRPr lang="es-G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  <a:endParaRPr lang="es-GT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2885219"/>
                  </a:ext>
                </a:extLst>
              </a:tr>
              <a:tr h="467546">
                <a:tc>
                  <a:txBody>
                    <a:bodyPr/>
                    <a:lstStyle/>
                    <a:p>
                      <a:r>
                        <a:rPr lang="es-GT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lse positive (FP)</a:t>
                      </a:r>
                      <a:endParaRPr lang="es-G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 - 0</a:t>
                      </a:r>
                      <a:endParaRPr lang="es-G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$6,000</a:t>
                      </a:r>
                      <a:endParaRPr lang="es-GT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1200014"/>
                  </a:ext>
                </a:extLst>
              </a:tr>
              <a:tr h="467546">
                <a:tc>
                  <a:txBody>
                    <a:bodyPr/>
                    <a:lstStyle/>
                    <a:p>
                      <a:r>
                        <a:rPr lang="es-GT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lse </a:t>
                      </a:r>
                      <a:r>
                        <a:rPr lang="es-GT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gative</a:t>
                      </a:r>
                      <a:r>
                        <a:rPr lang="es-GT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FN)</a:t>
                      </a:r>
                      <a:endParaRPr lang="es-GT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 - 1</a:t>
                      </a:r>
                      <a:endParaRPr lang="es-G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$58,000</a:t>
                      </a:r>
                      <a:endParaRPr lang="es-GT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57608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8060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B05DD9F-E154-47D0-B5D7-1025C4597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GT" dirty="0"/>
              <a:t>DEM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77E0D5-BBD6-4AF2-9A6A-C77C7BF925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933364"/>
            <a:ext cx="11351846" cy="4772025"/>
          </a:xfrm>
        </p:spPr>
        <p:txBody>
          <a:bodyPr/>
          <a:lstStyle/>
          <a:p>
            <a:r>
              <a:rPr lang="es-GT" dirty="0">
                <a:hlinkClick r:id="rId2"/>
              </a:rPr>
              <a:t>https://s3.amazonaws.com/sagemaker-hremployeeattrition</a:t>
            </a:r>
            <a:r>
              <a:rPr lang="es-GT" dirty="0">
                <a:hlinkClick r:id="rId2"/>
              </a:rPr>
              <a:t>-</a:t>
            </a:r>
            <a:r>
              <a:rPr lang="es-GT" dirty="0">
                <a:hlinkClick r:id="rId2"/>
              </a:rPr>
              <a:t>0001/website/pages/EmployeeDatabase.html</a:t>
            </a:r>
            <a:endParaRPr lang="es-GT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A01E350-6187-4CC8-89D0-F1E44253AB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167" y="1645203"/>
            <a:ext cx="10489034" cy="4799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2455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9AE1C-D038-40D8-ACD3-EC7F20379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</a:t>
            </a:r>
            <a:endParaRPr lang="es-G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175D8-9DDE-4632-B0EC-A542B585DA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are able to identify the employees with a higher risk of attri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can focus our efforts to incentivize employees with higher risk of attrition and reduce employee turn over co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can identify the reasons for leaving and do more research on employees with higher risk of attrition to find more relevant reasons for leaving and add them to our model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78060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789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_Template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90</TotalTime>
  <Words>504</Words>
  <Application>Microsoft Office PowerPoint</Application>
  <PresentationFormat>Widescreen</PresentationFormat>
  <Paragraphs>82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Verdana</vt:lpstr>
      <vt:lpstr>Wingdings</vt:lpstr>
      <vt:lpstr>Capgemini_Template</vt:lpstr>
      <vt:lpstr>think-cell Slide</vt:lpstr>
      <vt:lpstr>PowerPoint Presentation</vt:lpstr>
      <vt:lpstr>TEAM INFO</vt:lpstr>
      <vt:lpstr>Problem</vt:lpstr>
      <vt:lpstr>SOLUTION &amp; TECHNOLOGY</vt:lpstr>
      <vt:lpstr>ROBUSTNESS</vt:lpstr>
      <vt:lpstr>DEMO</vt:lpstr>
      <vt:lpstr>BENEFI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lores, Luis Miguel</dc:creator>
  <cp:lastModifiedBy>De Paz, Manuel Sebastian</cp:lastModifiedBy>
  <cp:revision>94</cp:revision>
  <dcterms:created xsi:type="dcterms:W3CDTF">2017-12-05T19:54:44Z</dcterms:created>
  <dcterms:modified xsi:type="dcterms:W3CDTF">2018-10-01T01:00:25Z</dcterms:modified>
</cp:coreProperties>
</file>